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9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0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5659" r:id="rId2"/>
    <p:sldMasterId id="2147485634" r:id="rId3"/>
    <p:sldMasterId id="2147485646" r:id="rId4"/>
    <p:sldMasterId id="2147483651" r:id="rId5"/>
    <p:sldMasterId id="2147483683" r:id="rId6"/>
    <p:sldMasterId id="2147483685" r:id="rId7"/>
    <p:sldMasterId id="2147483687" r:id="rId8"/>
    <p:sldMasterId id="2147483689" r:id="rId9"/>
    <p:sldMasterId id="2147483691" r:id="rId10"/>
    <p:sldMasterId id="2147483693" r:id="rId11"/>
  </p:sldMasterIdLst>
  <p:notesMasterIdLst>
    <p:notesMasterId r:id="rId20"/>
  </p:notesMasterIdLst>
  <p:handoutMasterIdLst>
    <p:handoutMasterId r:id="rId21"/>
  </p:handoutMasterIdLst>
  <p:sldIdLst>
    <p:sldId id="279" r:id="rId12"/>
    <p:sldId id="345" r:id="rId13"/>
    <p:sldId id="490" r:id="rId14"/>
    <p:sldId id="437" r:id="rId15"/>
    <p:sldId id="393" r:id="rId16"/>
    <p:sldId id="492" r:id="rId17"/>
    <p:sldId id="435" r:id="rId18"/>
    <p:sldId id="493" r:id="rId19"/>
  </p:sldIdLst>
  <p:sldSz cx="9144000" cy="6858000" type="screen4x3"/>
  <p:notesSz cx="6794500" cy="9906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CC"/>
    <a:srgbClr val="FF99CC"/>
    <a:srgbClr val="CCFFFF"/>
    <a:srgbClr val="66FF33"/>
    <a:srgbClr val="000099"/>
    <a:srgbClr val="3333FF"/>
    <a:srgbClr val="1A04A0"/>
    <a:srgbClr val="FF0000"/>
    <a:srgbClr val="5C0B99"/>
    <a:srgbClr val="2E06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4588" autoAdjust="0"/>
    <p:restoredTop sz="86455" autoAdjust="0"/>
  </p:normalViewPr>
  <p:slideViewPr>
    <p:cSldViewPr>
      <p:cViewPr>
        <p:scale>
          <a:sx n="100" d="100"/>
          <a:sy n="100" d="100"/>
        </p:scale>
        <p:origin x="-1224" y="8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100" y="0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BA24A9C-A57D-4B81-8C6B-C850BF701740}" type="datetimeFigureOut">
              <a:rPr lang="ru-RU"/>
              <a:pPr>
                <a:defRPr/>
              </a:pPr>
              <a:t>02.10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09113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100" y="9409113"/>
            <a:ext cx="29448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2330493-3F49-4CCF-A17F-1D94DBE256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44090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10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75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0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05350"/>
            <a:ext cx="5435600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10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D885207-54F8-4FFE-9CB0-57170344BF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38524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1B3E588-D62C-4163-A81E-16751D55241A}" type="slidenum">
              <a:rPr lang="en-GB" smtClean="0">
                <a:latin typeface="Arial" pitchFamily="34" charset="0"/>
                <a:cs typeface="Arial" pitchFamily="34" charset="0"/>
              </a:rPr>
              <a:pPr/>
              <a:t>1</a:t>
            </a:fld>
            <a:endParaRPr lang="en-GB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86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04838" y="939800"/>
            <a:ext cx="5905500" cy="4429125"/>
          </a:xfrm>
          <a:ln/>
        </p:spPr>
      </p:sp>
      <p:sp>
        <p:nvSpPr>
          <p:cNvPr id="6861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0075" y="5772150"/>
            <a:ext cx="5872163" cy="3621088"/>
          </a:xfrm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71BBB25-D751-4A12-BE42-09CED7B9D30E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397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8E17307-25BD-4A74-A6A0-1FE0BA0E2065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slide" Target="../slides/slide7.xml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0.xml"/><Relationship Id="rId6" Type="http://schemas.openxmlformats.org/officeDocument/2006/relationships/slide" Target="../slides/slide4.xml"/><Relationship Id="rId5" Type="http://schemas.openxmlformats.org/officeDocument/2006/relationships/slide" Target="../slides/slide8.xml"/><Relationship Id="rId4" Type="http://schemas.openxmlformats.org/officeDocument/2006/relationships/hyperlink" Target="http://www.rosatom.ru/" TargetMode="Externa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slide" Target="../slides/slide7.xml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1.xml"/><Relationship Id="rId6" Type="http://schemas.openxmlformats.org/officeDocument/2006/relationships/slide" Target="../slides/slide4.xml"/><Relationship Id="rId5" Type="http://schemas.openxmlformats.org/officeDocument/2006/relationships/slide" Target="../slides/slide8.xml"/><Relationship Id="rId4" Type="http://schemas.openxmlformats.org/officeDocument/2006/relationships/hyperlink" Target="http://www.rosatom.ru/" TargetMode="Externa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slide" Target="../slides/slide7.xml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Relationship Id="rId6" Type="http://schemas.openxmlformats.org/officeDocument/2006/relationships/slide" Target="../slides/slide4.xml"/><Relationship Id="rId5" Type="http://schemas.openxmlformats.org/officeDocument/2006/relationships/slide" Target="../slides/slide8.xml"/><Relationship Id="rId4" Type="http://schemas.openxmlformats.org/officeDocument/2006/relationships/hyperlink" Target="http://www.rosatom.ru/" TargetMode="Externa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osatom.ru/" TargetMode="External"/><Relationship Id="rId7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Relationship Id="rId6" Type="http://schemas.openxmlformats.org/officeDocument/2006/relationships/slide" Target="../slides/slide7.xml"/><Relationship Id="rId5" Type="http://schemas.openxmlformats.org/officeDocument/2006/relationships/slide" Target="../slides/slide4.xml"/><Relationship Id="rId4" Type="http://schemas.openxmlformats.org/officeDocument/2006/relationships/slide" Target="../slides/slide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slide" Target="../slides/slide7.xml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Relationship Id="rId6" Type="http://schemas.openxmlformats.org/officeDocument/2006/relationships/slide" Target="../slides/slide4.xml"/><Relationship Id="rId5" Type="http://schemas.openxmlformats.org/officeDocument/2006/relationships/slide" Target="../slides/slide8.xml"/><Relationship Id="rId4" Type="http://schemas.openxmlformats.org/officeDocument/2006/relationships/hyperlink" Target="http://www.rosatom.ru/" TargetMode="Externa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slide" Target="../slides/slide7.xm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9.xml"/><Relationship Id="rId6" Type="http://schemas.openxmlformats.org/officeDocument/2006/relationships/slide" Target="../slides/slide4.xml"/><Relationship Id="rId5" Type="http://schemas.openxmlformats.org/officeDocument/2006/relationships/slide" Target="../slides/slide8.xml"/><Relationship Id="rId4" Type="http://schemas.openxmlformats.org/officeDocument/2006/relationships/hyperlink" Target="http://www.rosatom.ru/" TargetMode="Externa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25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pic>
        <p:nvPicPr>
          <p:cNvPr id="105474" name="Picture 2" descr="logo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188640"/>
            <a:ext cx="3037959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5BA234-4C1B-432C-84DE-70B013A8A9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2809BE-7CA3-4B9C-89E1-20A6616C930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B938A7-00D5-4277-9D38-4F5B302FD3B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847D9A-62F8-44A4-B53B-03D5B221DD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705475" y="1076325"/>
            <a:ext cx="360363" cy="360363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7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069013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8" name="navigation3">
            <a:hlinkClick r:id="rId6" action="ppaction://hlinksldjump"/>
          </p:cNvPr>
          <p:cNvSpPr>
            <a:spLocks noChangeArrowheads="1"/>
          </p:cNvSpPr>
          <p:nvPr userDrawn="1"/>
        </p:nvSpPr>
        <p:spPr bwMode="auto">
          <a:xfrm>
            <a:off x="64325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9" name="navigation4">
            <a:hlinkClick r:id="rId7" action="ppaction://hlinksldjump"/>
          </p:cNvPr>
          <p:cNvSpPr>
            <a:spLocks noChangeArrowheads="1"/>
          </p:cNvSpPr>
          <p:nvPr userDrawn="1"/>
        </p:nvSpPr>
        <p:spPr bwMode="auto">
          <a:xfrm>
            <a:off x="6796088" y="1076325"/>
            <a:ext cx="360362" cy="360363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hlink"/>
                </a:solidFill>
                <a:latin typeface="Arial" charset="0"/>
                <a:cs typeface="Arial" charset="0"/>
              </a:rPr>
              <a:t>4</a:t>
            </a:r>
          </a:p>
        </p:txBody>
      </p:sp>
      <p:sp>
        <p:nvSpPr>
          <p:cNvPr id="1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5962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5</a:t>
            </a:r>
          </a:p>
        </p:txBody>
      </p:sp>
      <p:sp>
        <p:nvSpPr>
          <p:cNvPr id="11" name="navigation6"/>
          <p:cNvSpPr>
            <a:spLocks noChangeArrowheads="1"/>
          </p:cNvSpPr>
          <p:nvPr userDrawn="1"/>
        </p:nvSpPr>
        <p:spPr bwMode="auto">
          <a:xfrm>
            <a:off x="75247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6</a:t>
            </a:r>
          </a:p>
        </p:txBody>
      </p:sp>
      <p:sp>
        <p:nvSpPr>
          <p:cNvPr id="7577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7577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  <p:transition>
    <p:split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AC0FDC-592D-41BF-B33D-0B5B7CADD2B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CB297F-7A1A-4295-9F78-7F01AAFAFE0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D3D890-DB57-4D17-8B00-6DE3780C5FB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EB68E3-A43B-405D-B375-E585DEA806B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BFE30B-4211-4790-B012-E29C2B80D8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8B1289-3567-451E-9B00-165C0B13FB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3A17DF-422F-4D72-82AC-71047A58A5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981E64-5177-47B9-8CFC-256C33BDDC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3DF228-21F3-4C57-98D3-DB06D688095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B6FFA1-1001-48B2-A251-4BE4AC11884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FD5C52-50D8-4ED5-9314-E42F55928E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705475" y="1076325"/>
            <a:ext cx="360363" cy="360363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7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069013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8" name="navigation3">
            <a:hlinkClick r:id="rId6" action="ppaction://hlinksldjump"/>
          </p:cNvPr>
          <p:cNvSpPr>
            <a:spLocks noChangeArrowheads="1"/>
          </p:cNvSpPr>
          <p:nvPr userDrawn="1"/>
        </p:nvSpPr>
        <p:spPr bwMode="auto">
          <a:xfrm>
            <a:off x="64325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9" name="navigation4">
            <a:hlinkClick r:id="rId7" action="ppaction://hlinksldjump"/>
          </p:cNvPr>
          <p:cNvSpPr>
            <a:spLocks noChangeArrowheads="1"/>
          </p:cNvSpPr>
          <p:nvPr userDrawn="1"/>
        </p:nvSpPr>
        <p:spPr bwMode="auto">
          <a:xfrm>
            <a:off x="6796088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4</a:t>
            </a:r>
          </a:p>
        </p:txBody>
      </p:sp>
      <p:sp>
        <p:nvSpPr>
          <p:cNvPr id="1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59625" y="1076325"/>
            <a:ext cx="360363" cy="360363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hlink"/>
                </a:solidFill>
                <a:latin typeface="Arial" charset="0"/>
                <a:cs typeface="Arial" charset="0"/>
              </a:rPr>
              <a:t>5</a:t>
            </a:r>
          </a:p>
        </p:txBody>
      </p:sp>
      <p:sp>
        <p:nvSpPr>
          <p:cNvPr id="11" name="navigation6"/>
          <p:cNvSpPr>
            <a:spLocks noChangeArrowheads="1"/>
          </p:cNvSpPr>
          <p:nvPr userDrawn="1"/>
        </p:nvSpPr>
        <p:spPr bwMode="auto">
          <a:xfrm>
            <a:off x="75247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6</a:t>
            </a:r>
          </a:p>
        </p:txBody>
      </p:sp>
      <p:sp>
        <p:nvSpPr>
          <p:cNvPr id="77826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  <p:transition>
    <p:split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B45DA3-D595-4CFD-BFD1-3806D54486E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38BB7E-64EE-4A61-B570-D6C6BCA6B4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6B7B0A-A752-457A-BFCA-C0284A03A2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2BE1D0-9AE7-4D50-BCFA-A56435784B2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19A3C7-68B9-4797-8A07-E86E8059C8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77788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547348-E6F4-427E-9A12-334C48F50A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6E2C02-92EB-478E-B9EF-FA908CCA9C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92C280-EF41-471B-9EB1-16792A28E7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23C8E7-70DB-4BD3-B322-DDF4AB6776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514992-58DF-423E-B2B4-30F8B5DF1E5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78AAF9-4CD8-4CB5-8C3C-E8BCE0952F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blipFill dpi="0" rotWithShape="0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484784"/>
            <a:ext cx="8207375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38C4E3-3F9D-4DA5-9B56-0FAFFCFEFB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>
          <a:xfrm>
            <a:off x="395536" y="6453188"/>
            <a:ext cx="1799977" cy="404812"/>
          </a:xfrm>
          <a:solidFill>
            <a:schemeClr val="tx2"/>
          </a:solidFill>
        </p:spPr>
        <p:txBody>
          <a:bodyPr/>
          <a:lstStyle>
            <a:lvl1pPr>
              <a:buNone/>
              <a:defRPr/>
            </a:lvl1pPr>
            <a:lvl5pPr>
              <a:buNone/>
              <a:defRPr/>
            </a:lvl5pPr>
          </a:lstStyle>
          <a:p>
            <a:pPr marL="2073275" marR="0" lvl="0" indent="-2286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»"/>
              <a:tabLst/>
              <a:defRPr/>
            </a:pPr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E818E-2B22-42A1-A23F-10F27307AA75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1D7E0-3C2F-4B62-8400-802CC08D644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E818E-2B22-42A1-A23F-10F27307AA75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1D7E0-3C2F-4B62-8400-802CC08D644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E818E-2B22-42A1-A23F-10F27307AA75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1D7E0-3C2F-4B62-8400-802CC08D644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E818E-2B22-42A1-A23F-10F27307AA75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1D7E0-3C2F-4B62-8400-802CC08D644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E818E-2B22-42A1-A23F-10F27307AA75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1D7E0-3C2F-4B62-8400-802CC08D644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7E502D-B019-4022-8152-ECBEAC8F1A6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03425" name="Picture 1" descr="logo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6451784"/>
            <a:ext cx="1224136" cy="406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E818E-2B22-42A1-A23F-10F27307AA75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1D7E0-3C2F-4B62-8400-802CC08D644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E818E-2B22-42A1-A23F-10F27307AA75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1D7E0-3C2F-4B62-8400-802CC08D644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E818E-2B22-42A1-A23F-10F27307AA75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1D7E0-3C2F-4B62-8400-802CC08D644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E818E-2B22-42A1-A23F-10F27307AA75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1D7E0-3C2F-4B62-8400-802CC08D644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E818E-2B22-42A1-A23F-10F27307AA75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1D7E0-3C2F-4B62-8400-802CC08D644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9E818E-2B22-42A1-A23F-10F27307AA75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1D7E0-3C2F-4B62-8400-802CC08D644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6CCF7C-C6E4-4623-8224-86D79523841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25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644900"/>
            <a:ext cx="6688137" cy="1008063"/>
          </a:xfrm>
        </p:spPr>
        <p:txBody>
          <a:bodyPr anchor="ctr"/>
          <a:lstStyle>
            <a:lvl1pPr marL="0" indent="0">
              <a:buFontTx/>
              <a:buNone/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A048BB-A6FB-4056-A397-F1E65818B5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D8D44F-3392-4DE4-B0EF-49B26B89C3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C25543-C669-4DE0-9C2B-5352569B7A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66C43E-DF1F-48C7-A303-28510C13C5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00A2B9-A18A-4E10-9CF3-09D030A34E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593DA-DECE-4B21-A8D9-FE7B2C99C9A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8396C7-044F-47FA-8601-F8CEBAFDBDC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9D5643-DA12-4688-855E-1C41D0794A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AF63C1-C757-4EE0-B5CA-29912AE5EE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F490AD-49E2-485B-B6E7-F1CF97E90C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70DEE9-19AD-4854-8A9D-1667DD6B00A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705475" y="1076325"/>
            <a:ext cx="360363" cy="360363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7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069013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8" name="navigation3">
            <a:hlinkClick r:id="rId6" action="ppaction://hlinksldjump"/>
          </p:cNvPr>
          <p:cNvSpPr>
            <a:spLocks noChangeArrowheads="1"/>
          </p:cNvSpPr>
          <p:nvPr userDrawn="1"/>
        </p:nvSpPr>
        <p:spPr bwMode="auto">
          <a:xfrm>
            <a:off x="64325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9" name="navigation4">
            <a:hlinkClick r:id="rId7" action="ppaction://hlinksldjump"/>
          </p:cNvPr>
          <p:cNvSpPr>
            <a:spLocks noChangeArrowheads="1"/>
          </p:cNvSpPr>
          <p:nvPr userDrawn="1"/>
        </p:nvSpPr>
        <p:spPr bwMode="auto">
          <a:xfrm>
            <a:off x="6796088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4</a:t>
            </a:r>
          </a:p>
        </p:txBody>
      </p:sp>
      <p:sp>
        <p:nvSpPr>
          <p:cNvPr id="1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5962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5</a:t>
            </a:r>
          </a:p>
        </p:txBody>
      </p:sp>
      <p:sp>
        <p:nvSpPr>
          <p:cNvPr id="11" name="navigation6"/>
          <p:cNvSpPr>
            <a:spLocks noChangeArrowheads="1"/>
          </p:cNvSpPr>
          <p:nvPr userDrawn="1"/>
        </p:nvSpPr>
        <p:spPr bwMode="auto">
          <a:xfrm>
            <a:off x="7524750" y="1076325"/>
            <a:ext cx="360363" cy="360363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hlink"/>
                </a:solidFill>
                <a:latin typeface="Arial" charset="0"/>
                <a:cs typeface="Arial" charset="0"/>
              </a:rPr>
              <a:t>6</a:t>
            </a:r>
          </a:p>
        </p:txBody>
      </p:sp>
      <p:sp>
        <p:nvSpPr>
          <p:cNvPr id="6553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553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  <p:transition>
    <p:split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02483D-8652-4004-B188-D4B0F60778D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DB1EA9-1F2E-4A23-8DF1-1C4DA6F4FC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CADD10-7FF6-4315-9D75-D634B5839EF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D92937-6B53-4DFB-BBFF-754D5E0B23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CA04AA-3FE3-47BC-B402-FBF674D3BE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5B5A1A-C643-41C6-91CA-21DA4691D22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A7346D-ED51-4C0D-963A-33ADD57E48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9194ED-A47A-4100-B060-4C27FE1BF5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3084ED-DD1F-4307-9C68-79DD3DC8E4E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4858D1-31B7-4AE9-886B-3B36D9BD8C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90DC27-D02F-41AC-A5B1-6C23F76756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D9E930-E27E-46A9-8DD0-FD61B401B2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>
            <a:hlinkClick r:id="rId3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5" name="navigation1">
            <a:hlinkClick r:id="rId4" action="ppaction://hlinksldjump"/>
          </p:cNvPr>
          <p:cNvSpPr>
            <a:spLocks noChangeArrowheads="1"/>
          </p:cNvSpPr>
          <p:nvPr userDrawn="1"/>
        </p:nvSpPr>
        <p:spPr bwMode="auto">
          <a:xfrm>
            <a:off x="5705475" y="1076325"/>
            <a:ext cx="360363" cy="360363"/>
          </a:xfrm>
          <a:prstGeom prst="ellipse">
            <a:avLst/>
          </a:prstGeom>
          <a:solidFill>
            <a:schemeClr val="bg1"/>
          </a:solidFill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hlink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6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069013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7" name="navigation3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64325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8" name="navigation4">
            <a:hlinkClick r:id="rId6" action="ppaction://hlinksldjump"/>
          </p:cNvPr>
          <p:cNvSpPr>
            <a:spLocks noChangeArrowheads="1"/>
          </p:cNvSpPr>
          <p:nvPr userDrawn="1"/>
        </p:nvSpPr>
        <p:spPr bwMode="auto">
          <a:xfrm>
            <a:off x="6796088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4</a:t>
            </a:r>
          </a:p>
        </p:txBody>
      </p:sp>
      <p:sp>
        <p:nvSpPr>
          <p:cNvPr id="9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5962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5</a:t>
            </a:r>
          </a:p>
        </p:txBody>
      </p:sp>
      <p:sp>
        <p:nvSpPr>
          <p:cNvPr id="10" name="navigation6"/>
          <p:cNvSpPr>
            <a:spLocks noChangeArrowheads="1"/>
          </p:cNvSpPr>
          <p:nvPr userDrawn="1"/>
        </p:nvSpPr>
        <p:spPr bwMode="auto">
          <a:xfrm>
            <a:off x="75247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6</a:t>
            </a:r>
          </a:p>
        </p:txBody>
      </p:sp>
      <p:pic>
        <p:nvPicPr>
          <p:cNvPr id="11" name="navigation8" descr="ujkm,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6963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split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53CDA3-25E7-488C-A904-0186FFDC57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AAE38F-21E8-4641-8F70-4D5D1750BB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2278F4-CC43-453F-B8EC-369540439D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3E0298-7588-4E6B-9F55-ABCA4BB7AE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2F7DCE-5641-4CA5-BBE3-60C9687E4EA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1026B8-F22A-45BC-A8DA-1D3F1DA48D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56B43C-44A6-4030-966F-ED8220E8018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023C7D-E680-4988-BDDD-EDB06B29ADD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0C5765-2C3C-420B-8D00-7AFD9C34A5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8E17C1-38B6-4D5E-BB94-01B6343011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3D17AD-DCC6-4EE3-804A-A9D89549E3D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705475" y="1076325"/>
            <a:ext cx="360363" cy="360363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7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069013" y="1076325"/>
            <a:ext cx="360362" cy="360363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hlink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8" name="navigation3">
            <a:hlinkClick r:id="rId6" action="ppaction://hlinksldjump"/>
          </p:cNvPr>
          <p:cNvSpPr>
            <a:spLocks noChangeArrowheads="1"/>
          </p:cNvSpPr>
          <p:nvPr userDrawn="1"/>
        </p:nvSpPr>
        <p:spPr bwMode="auto">
          <a:xfrm>
            <a:off x="64325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9" name="navigation4">
            <a:hlinkClick r:id="rId7" action="ppaction://hlinksldjump"/>
          </p:cNvPr>
          <p:cNvSpPr>
            <a:spLocks noChangeArrowheads="1"/>
          </p:cNvSpPr>
          <p:nvPr userDrawn="1"/>
        </p:nvSpPr>
        <p:spPr bwMode="auto">
          <a:xfrm>
            <a:off x="6796088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4</a:t>
            </a:r>
          </a:p>
        </p:txBody>
      </p:sp>
      <p:sp>
        <p:nvSpPr>
          <p:cNvPr id="1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5962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5</a:t>
            </a:r>
          </a:p>
        </p:txBody>
      </p:sp>
      <p:sp>
        <p:nvSpPr>
          <p:cNvPr id="11" name="navigation6"/>
          <p:cNvSpPr>
            <a:spLocks noChangeArrowheads="1"/>
          </p:cNvSpPr>
          <p:nvPr userDrawn="1"/>
        </p:nvSpPr>
        <p:spPr bwMode="auto">
          <a:xfrm>
            <a:off x="75247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6</a:t>
            </a:r>
          </a:p>
        </p:txBody>
      </p:sp>
      <p:sp>
        <p:nvSpPr>
          <p:cNvPr id="7168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  <p:transition>
    <p:split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C79FC5-52D5-432F-A12B-401F1F5C80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97DF79-6C32-4824-875E-B8FC82AAB4B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5A07B9-F2DA-4FA9-8281-C583630C0B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39BA7B-1DB4-4C93-8212-36B71DAF72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0E3B95-DB48-4BDF-952E-CE8C9D8D2C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5B74A6-B0E4-4DA1-B015-D2B4043240D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C06984-6D17-4575-AF91-73B862161BE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54E881-0A3B-4AC3-B1C7-9EC161D070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2A6541-15E3-452A-B9E6-C419254F28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B5A2E0-FB9C-4153-A895-B7FF5B921C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BD33BE-736C-4692-ABD7-9E2991DCA8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navigation1">
            <a:hlinkClick r:id="rId5" action="ppaction://hlinksldjump"/>
          </p:cNvPr>
          <p:cNvSpPr>
            <a:spLocks noChangeArrowheads="1"/>
          </p:cNvSpPr>
          <p:nvPr userDrawn="1"/>
        </p:nvSpPr>
        <p:spPr bwMode="auto">
          <a:xfrm>
            <a:off x="5705475" y="1076325"/>
            <a:ext cx="360363" cy="360363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7" name="navigation2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6069013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8" name="navigation3">
            <a:hlinkClick r:id="rId6" action="ppaction://hlinksldjump"/>
          </p:cNvPr>
          <p:cNvSpPr>
            <a:spLocks noChangeArrowheads="1"/>
          </p:cNvSpPr>
          <p:nvPr userDrawn="1"/>
        </p:nvSpPr>
        <p:spPr bwMode="auto">
          <a:xfrm>
            <a:off x="6432550" y="1076325"/>
            <a:ext cx="360363" cy="360363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hlink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9" name="navigation4">
            <a:hlinkClick r:id="rId7" action="ppaction://hlinksldjump"/>
          </p:cNvPr>
          <p:cNvSpPr>
            <a:spLocks noChangeArrowheads="1"/>
          </p:cNvSpPr>
          <p:nvPr userDrawn="1"/>
        </p:nvSpPr>
        <p:spPr bwMode="auto">
          <a:xfrm>
            <a:off x="6796088" y="1076325"/>
            <a:ext cx="360362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4</a:t>
            </a:r>
          </a:p>
        </p:txBody>
      </p:sp>
      <p:sp>
        <p:nvSpPr>
          <p:cNvPr id="10" name="navigation5">
            <a:hlinkClick r:id="" action="ppaction://noaction"/>
          </p:cNvPr>
          <p:cNvSpPr>
            <a:spLocks noChangeArrowheads="1"/>
          </p:cNvSpPr>
          <p:nvPr userDrawn="1"/>
        </p:nvSpPr>
        <p:spPr bwMode="auto">
          <a:xfrm>
            <a:off x="715962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5</a:t>
            </a:r>
          </a:p>
        </p:txBody>
      </p:sp>
      <p:sp>
        <p:nvSpPr>
          <p:cNvPr id="11" name="navigation6"/>
          <p:cNvSpPr>
            <a:spLocks noChangeArrowheads="1"/>
          </p:cNvSpPr>
          <p:nvPr userDrawn="1"/>
        </p:nvSpPr>
        <p:spPr bwMode="auto">
          <a:xfrm>
            <a:off x="7524750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>
                <a:solidFill>
                  <a:schemeClr val="bg1"/>
                </a:solidFill>
                <a:latin typeface="Arial" charset="0"/>
                <a:cs typeface="Arial" charset="0"/>
              </a:rPr>
              <a:t>6</a:t>
            </a:r>
          </a:p>
        </p:txBody>
      </p:sp>
      <p:sp>
        <p:nvSpPr>
          <p:cNvPr id="73730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88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7373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  <p:transition>
    <p:split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2D4141-E6B3-40EC-9018-58B594BE25D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7DD087-B8E3-4BCB-A588-891554FB52B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2B3363-22C7-4BB9-B712-B7021B4F1E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1C7BE7-484A-42D5-AE5B-47BB03050D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25528B-41B4-4C00-B4F2-DB44D3EA2B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BC0D26-49BC-42A1-A254-CB61A0BE2FB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D4F928-EA15-4019-A1AB-003CCF036F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hyperlink" Target="http://www.rosatom.ru/" TargetMode="Externa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image" Target="../media/image1.jpeg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17" Type="http://schemas.openxmlformats.org/officeDocument/2006/relationships/slide" Target="../slides/slide7.xml"/><Relationship Id="rId2" Type="http://schemas.openxmlformats.org/officeDocument/2006/relationships/slideLayout" Target="../slideLayouts/slideLayout104.xml"/><Relationship Id="rId16" Type="http://schemas.openxmlformats.org/officeDocument/2006/relationships/slide" Target="../slides/slide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slide" Target="../slides/slide8.xml"/><Relationship Id="rId10" Type="http://schemas.openxmlformats.org/officeDocument/2006/relationships/slideLayout" Target="../slideLayouts/slideLayout112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hyperlink" Target="http://www.rosatom.ru/" TargetMode="Externa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image" Target="../media/image1.jpeg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11.xml"/><Relationship Id="rId17" Type="http://schemas.openxmlformats.org/officeDocument/2006/relationships/slide" Target="../slides/slide7.xml"/><Relationship Id="rId2" Type="http://schemas.openxmlformats.org/officeDocument/2006/relationships/slideLayout" Target="../slideLayouts/slideLayout115.xml"/><Relationship Id="rId16" Type="http://schemas.openxmlformats.org/officeDocument/2006/relationships/slide" Target="../slides/slide4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slide" Target="../slides/slide8.xml"/><Relationship Id="rId10" Type="http://schemas.openxmlformats.org/officeDocument/2006/relationships/slideLayout" Target="../slideLayouts/slideLayout123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hyperlink" Target="http://www.rosatom.ru/" TargetMode="Externa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hyperlink" Target="http://www.rosatom.ru/" TargetMode="Externa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image" Target="../media/image1.jpeg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17" Type="http://schemas.openxmlformats.org/officeDocument/2006/relationships/slide" Target="../slides/slide7.xml"/><Relationship Id="rId2" Type="http://schemas.openxmlformats.org/officeDocument/2006/relationships/slideLayout" Target="../slideLayouts/slideLayout60.xml"/><Relationship Id="rId16" Type="http://schemas.openxmlformats.org/officeDocument/2006/relationships/slide" Target="../slides/slide4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slide" Target="../slides/slide8.xml"/><Relationship Id="rId10" Type="http://schemas.openxmlformats.org/officeDocument/2006/relationships/slideLayout" Target="../slideLayouts/slideLayout68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hyperlink" Target="http://www.rosatom.ru/" TargetMode="Externa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image" Target="../media/image1.jpeg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17" Type="http://schemas.openxmlformats.org/officeDocument/2006/relationships/slide" Target="../slides/slide7.xml"/><Relationship Id="rId2" Type="http://schemas.openxmlformats.org/officeDocument/2006/relationships/slideLayout" Target="../slideLayouts/slideLayout71.xml"/><Relationship Id="rId16" Type="http://schemas.openxmlformats.org/officeDocument/2006/relationships/slide" Target="../slides/slide4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slide" Target="../slides/slide8.xml"/><Relationship Id="rId10" Type="http://schemas.openxmlformats.org/officeDocument/2006/relationships/slideLayout" Target="../slideLayouts/slideLayout79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hyperlink" Target="http://www.rosatom.ru/" TargetMode="Externa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image" Target="../media/image1.jpeg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8.xml"/><Relationship Id="rId17" Type="http://schemas.openxmlformats.org/officeDocument/2006/relationships/slide" Target="../slides/slide7.xml"/><Relationship Id="rId2" Type="http://schemas.openxmlformats.org/officeDocument/2006/relationships/slideLayout" Target="../slideLayouts/slideLayout82.xml"/><Relationship Id="rId16" Type="http://schemas.openxmlformats.org/officeDocument/2006/relationships/slide" Target="../slides/slide4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" Target="../slides/slide8.xml"/><Relationship Id="rId10" Type="http://schemas.openxmlformats.org/officeDocument/2006/relationships/slideLayout" Target="../slideLayouts/slideLayout9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hyperlink" Target="http://www.rosatom.ru/" TargetMode="Externa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image" Target="../media/image1.jpeg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9.xml"/><Relationship Id="rId17" Type="http://schemas.openxmlformats.org/officeDocument/2006/relationships/slide" Target="../slides/slide7.xml"/><Relationship Id="rId2" Type="http://schemas.openxmlformats.org/officeDocument/2006/relationships/slideLayout" Target="../slideLayouts/slideLayout93.xml"/><Relationship Id="rId16" Type="http://schemas.openxmlformats.org/officeDocument/2006/relationships/slide" Target="../slides/slide4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slide" Target="../slides/slide8.xml"/><Relationship Id="rId10" Type="http://schemas.openxmlformats.org/officeDocument/2006/relationships/slideLayout" Target="../slideLayouts/slideLayout101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hyperlink" Target="http://www.rosatom.ru/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24304DE3-747D-427E-BF82-D8F67A3827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5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26" r:id="rId1"/>
    <p:sldLayoutId id="2147485545" r:id="rId2"/>
    <p:sldLayoutId id="2147485546" r:id="rId3"/>
    <p:sldLayoutId id="2147485547" r:id="rId4"/>
    <p:sldLayoutId id="2147485548" r:id="rId5"/>
    <p:sldLayoutId id="2147485549" r:id="rId6"/>
    <p:sldLayoutId id="2147485550" r:id="rId7"/>
    <p:sldLayoutId id="2147485551" r:id="rId8"/>
    <p:sldLayoutId id="2147485552" r:id="rId9"/>
    <p:sldLayoutId id="2147485553" r:id="rId10"/>
    <p:sldLayoutId id="2147485554" r:id="rId11"/>
    <p:sldLayoutId id="2147485555" r:id="rId12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1" fontAlgn="base" hangingPunct="1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1" fontAlgn="base" hangingPunct="1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1" fontAlgn="base" hangingPunct="1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9DA0D7C-D9B1-41CB-B84A-DEF306043B2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475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74757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74758" name="navigation1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6486525" y="1022350"/>
            <a:ext cx="287338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74759" name="navigation2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6865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74760" name="navigation3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7246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74761" name="navigation4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bg1"/>
                </a:solidFill>
                <a:latin typeface="Arial" charset="0"/>
                <a:cs typeface="Arial" charset="0"/>
              </a:rPr>
              <a:t>4</a:t>
            </a:r>
            <a:endParaRPr lang="ru-RU" b="1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74762" name="navigation5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5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74763" name="navigation6"/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6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32" r:id="rId1"/>
    <p:sldLayoutId id="2147485606" r:id="rId2"/>
    <p:sldLayoutId id="2147485607" r:id="rId3"/>
    <p:sldLayoutId id="2147485608" r:id="rId4"/>
    <p:sldLayoutId id="2147485609" r:id="rId5"/>
    <p:sldLayoutId id="2147485610" r:id="rId6"/>
    <p:sldLayoutId id="2147485611" r:id="rId7"/>
    <p:sldLayoutId id="2147485612" r:id="rId8"/>
    <p:sldLayoutId id="2147485613" r:id="rId9"/>
    <p:sldLayoutId id="2147485614" r:id="rId10"/>
    <p:sldLayoutId id="2147485615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8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9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4D014D4-9959-4BA1-BA9C-A5E14F4D65E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680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76805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76806" name="navigation1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6486525" y="1022350"/>
            <a:ext cx="287338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76807" name="navigation2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6865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76808" name="navigation3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7246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76809" name="navigation4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4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76810" name="navigation5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bg1"/>
                </a:solidFill>
                <a:latin typeface="Arial" charset="0"/>
                <a:cs typeface="Arial" charset="0"/>
              </a:rPr>
              <a:t>5</a:t>
            </a:r>
            <a:endParaRPr lang="ru-RU" b="1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76811" name="navigation6"/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6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33" r:id="rId1"/>
    <p:sldLayoutId id="2147485616" r:id="rId2"/>
    <p:sldLayoutId id="2147485617" r:id="rId3"/>
    <p:sldLayoutId id="2147485618" r:id="rId4"/>
    <p:sldLayoutId id="2147485619" r:id="rId5"/>
    <p:sldLayoutId id="2147485620" r:id="rId6"/>
    <p:sldLayoutId id="2147485621" r:id="rId7"/>
    <p:sldLayoutId id="2147485622" r:id="rId8"/>
    <p:sldLayoutId id="2147485623" r:id="rId9"/>
    <p:sldLayoutId id="2147485624" r:id="rId10"/>
    <p:sldLayoutId id="2147485625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8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9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E6074C-6670-457E-BE3F-93F76FBC79BC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BB34C7-B0BD-48F6-A5FE-A33DDCE7F41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60" r:id="rId1"/>
    <p:sldLayoutId id="2147485661" r:id="rId2"/>
    <p:sldLayoutId id="2147485662" r:id="rId3"/>
    <p:sldLayoutId id="2147485663" r:id="rId4"/>
    <p:sldLayoutId id="2147485664" r:id="rId5"/>
    <p:sldLayoutId id="2147485665" r:id="rId6"/>
    <p:sldLayoutId id="2147485666" r:id="rId7"/>
    <p:sldLayoutId id="2147485667" r:id="rId8"/>
    <p:sldLayoutId id="2147485668" r:id="rId9"/>
    <p:sldLayoutId id="2147485669" r:id="rId10"/>
    <p:sldLayoutId id="2147485670" r:id="rId11"/>
    <p:sldLayoutId id="2147485671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9E818E-2B22-42A1-A23F-10F27307AA75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91D7E0-3C2F-4B62-8400-802CC08D644D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35" r:id="rId1"/>
    <p:sldLayoutId id="2147485636" r:id="rId2"/>
    <p:sldLayoutId id="2147485637" r:id="rId3"/>
    <p:sldLayoutId id="2147485638" r:id="rId4"/>
    <p:sldLayoutId id="2147485639" r:id="rId5"/>
    <p:sldLayoutId id="2147485640" r:id="rId6"/>
    <p:sldLayoutId id="2147485641" r:id="rId7"/>
    <p:sldLayoutId id="2147485642" r:id="rId8"/>
    <p:sldLayoutId id="2147485643" r:id="rId9"/>
    <p:sldLayoutId id="2147485644" r:id="rId10"/>
    <p:sldLayoutId id="214748564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8A4000-9A46-4B59-880E-CF8542AA1746}" type="datetimeFigureOut">
              <a:rPr lang="ru-RU" smtClean="0"/>
              <a:pPr/>
              <a:t>02.10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5E01B1-895D-4F11-8359-14CC7D0CF8DB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47" r:id="rId1"/>
    <p:sldLayoutId id="2147485648" r:id="rId2"/>
    <p:sldLayoutId id="2147485649" r:id="rId3"/>
    <p:sldLayoutId id="2147485650" r:id="rId4"/>
    <p:sldLayoutId id="2147485651" r:id="rId5"/>
    <p:sldLayoutId id="2147485652" r:id="rId6"/>
    <p:sldLayoutId id="2147485653" r:id="rId7"/>
    <p:sldLayoutId id="2147485654" r:id="rId8"/>
    <p:sldLayoutId id="2147485655" r:id="rId9"/>
    <p:sldLayoutId id="2147485656" r:id="rId10"/>
    <p:sldLayoutId id="2147485657" r:id="rId11"/>
    <p:sldLayoutId id="2147485658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F57557F-E59C-4FA6-B5AD-A2E22C90A9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9221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27" r:id="rId1"/>
    <p:sldLayoutId id="2147485556" r:id="rId2"/>
    <p:sldLayoutId id="2147485557" r:id="rId3"/>
    <p:sldLayoutId id="2147485558" r:id="rId4"/>
    <p:sldLayoutId id="2147485559" r:id="rId5"/>
    <p:sldLayoutId id="2147485560" r:id="rId6"/>
    <p:sldLayoutId id="2147485561" r:id="rId7"/>
    <p:sldLayoutId id="2147485562" r:id="rId8"/>
    <p:sldLayoutId id="2147485563" r:id="rId9"/>
    <p:sldLayoutId id="2147485564" r:id="rId10"/>
    <p:sldLayoutId id="2147485565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5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6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2E5C28F-A3AF-4F7B-AA4A-0B2FE67A47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451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64517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64518" name="navigation1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6486525" y="1022350"/>
            <a:ext cx="287338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64519" name="navigation2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6865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64520" name="navigation3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7246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64521" name="navigation4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4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64522" name="navigation5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5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64523" name="navigation6"/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bg1"/>
                </a:solidFill>
                <a:latin typeface="Arial" charset="0"/>
                <a:cs typeface="Arial" charset="0"/>
              </a:rPr>
              <a:t>6</a:t>
            </a:r>
            <a:endParaRPr lang="ru-RU" b="1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28" r:id="rId1"/>
    <p:sldLayoutId id="2147485566" r:id="rId2"/>
    <p:sldLayoutId id="2147485567" r:id="rId3"/>
    <p:sldLayoutId id="2147485568" r:id="rId4"/>
    <p:sldLayoutId id="2147485569" r:id="rId5"/>
    <p:sldLayoutId id="2147485570" r:id="rId6"/>
    <p:sldLayoutId id="2147485571" r:id="rId7"/>
    <p:sldLayoutId id="2147485572" r:id="rId8"/>
    <p:sldLayoutId id="2147485573" r:id="rId9"/>
    <p:sldLayoutId id="2147485574" r:id="rId10"/>
    <p:sldLayoutId id="2147485575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8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9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68611" name="Text Box 3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68612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0733629C-E8C1-4992-B9D5-6CFA6256FF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843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8614" name="navigation1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6486525" y="1022350"/>
            <a:ext cx="287338" cy="287338"/>
          </a:xfrm>
          <a:prstGeom prst="ellipse">
            <a:avLst/>
          </a:prstGeom>
          <a:solidFill>
            <a:schemeClr val="hlink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bg1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68615" name="navigation2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6865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68616" name="navigation3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7246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68617" name="navigation4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4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68618" name="navigation5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5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68619" name="navigation6"/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6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29" r:id="rId1"/>
    <p:sldLayoutId id="2147485576" r:id="rId2"/>
    <p:sldLayoutId id="2147485577" r:id="rId3"/>
    <p:sldLayoutId id="2147485578" r:id="rId4"/>
    <p:sldLayoutId id="2147485579" r:id="rId5"/>
    <p:sldLayoutId id="2147485580" r:id="rId6"/>
    <p:sldLayoutId id="2147485581" r:id="rId7"/>
    <p:sldLayoutId id="2147485582" r:id="rId8"/>
    <p:sldLayoutId id="2147485583" r:id="rId9"/>
    <p:sldLayoutId id="2147485584" r:id="rId10"/>
    <p:sldLayoutId id="2147485585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8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9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4DA0208-9D2C-417F-86DD-03926ECECBD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066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70661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70662" name="navigation1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6486525" y="1022350"/>
            <a:ext cx="287338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70663" name="navigation2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6865938" y="1022350"/>
            <a:ext cx="287337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bg1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70664" name="navigation3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7246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70665" name="navigation4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4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70666" name="navigation5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5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70667" name="navigation6"/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6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30" r:id="rId1"/>
    <p:sldLayoutId id="2147485586" r:id="rId2"/>
    <p:sldLayoutId id="2147485587" r:id="rId3"/>
    <p:sldLayoutId id="2147485588" r:id="rId4"/>
    <p:sldLayoutId id="2147485589" r:id="rId5"/>
    <p:sldLayoutId id="2147485590" r:id="rId6"/>
    <p:sldLayoutId id="2147485591" r:id="rId7"/>
    <p:sldLayoutId id="2147485592" r:id="rId8"/>
    <p:sldLayoutId id="2147485593" r:id="rId9"/>
    <p:sldLayoutId id="2147485594" r:id="rId10"/>
    <p:sldLayoutId id="2147485595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8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9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EC5AD04-E0DE-4264-84B1-330A591E6EE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7270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72709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13906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charset="0"/>
                <a:cs typeface="Arial" charset="0"/>
              </a:rPr>
              <a:t>www.rosatom.ru</a:t>
            </a:r>
            <a:endParaRPr lang="ru-RU" sz="1400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72710" name="navigation1">
            <a:hlinkClick r:id="rId15" action="ppaction://hlinksldjump"/>
          </p:cNvPr>
          <p:cNvSpPr>
            <a:spLocks noChangeArrowheads="1"/>
          </p:cNvSpPr>
          <p:nvPr/>
        </p:nvSpPr>
        <p:spPr bwMode="auto">
          <a:xfrm>
            <a:off x="6486525" y="1022350"/>
            <a:ext cx="287338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1</a:t>
            </a:r>
          </a:p>
        </p:txBody>
      </p:sp>
      <p:sp>
        <p:nvSpPr>
          <p:cNvPr id="72711" name="navigation2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6865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hlink"/>
                </a:solidFill>
                <a:latin typeface="Arial" charset="0"/>
                <a:cs typeface="Arial" charset="0"/>
              </a:rPr>
              <a:t>2</a:t>
            </a:r>
          </a:p>
        </p:txBody>
      </p:sp>
      <p:sp>
        <p:nvSpPr>
          <p:cNvPr id="72712" name="navigation3">
            <a:hlinkClick r:id="rId16" action="ppaction://hlinksldjump"/>
          </p:cNvPr>
          <p:cNvSpPr>
            <a:spLocks noChangeArrowheads="1"/>
          </p:cNvSpPr>
          <p:nvPr/>
        </p:nvSpPr>
        <p:spPr bwMode="auto">
          <a:xfrm>
            <a:off x="7246938" y="1022350"/>
            <a:ext cx="287337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>
                <a:solidFill>
                  <a:schemeClr val="bg1"/>
                </a:solidFill>
                <a:latin typeface="Arial" charset="0"/>
                <a:cs typeface="Arial" charset="0"/>
              </a:rPr>
              <a:t>3</a:t>
            </a:r>
          </a:p>
        </p:txBody>
      </p:sp>
      <p:sp>
        <p:nvSpPr>
          <p:cNvPr id="72713" name="navigation4">
            <a:hlinkClick r:id="rId17" action="ppaction://hlinksldjump"/>
          </p:cNvPr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4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72714" name="navigation5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5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  <p:sp>
        <p:nvSpPr>
          <p:cNvPr id="72715" name="navigation6"/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en-US" b="1">
                <a:solidFill>
                  <a:schemeClr val="hlink"/>
                </a:solidFill>
                <a:latin typeface="Arial" charset="0"/>
                <a:cs typeface="Arial" charset="0"/>
              </a:rPr>
              <a:t>6</a:t>
            </a:r>
            <a:endParaRPr lang="ru-RU" b="1">
              <a:solidFill>
                <a:schemeClr val="hlink"/>
              </a:solidFill>
              <a:latin typeface="Arial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31" r:id="rId1"/>
    <p:sldLayoutId id="2147485596" r:id="rId2"/>
    <p:sldLayoutId id="2147485597" r:id="rId3"/>
    <p:sldLayoutId id="2147485598" r:id="rId4"/>
    <p:sldLayoutId id="2147485599" r:id="rId5"/>
    <p:sldLayoutId id="2147485600" r:id="rId6"/>
    <p:sldLayoutId id="2147485601" r:id="rId7"/>
    <p:sldLayoutId id="2147485602" r:id="rId8"/>
    <p:sldLayoutId id="2147485603" r:id="rId9"/>
    <p:sldLayoutId id="2147485604" r:id="rId10"/>
    <p:sldLayoutId id="2147485605" r:id="rId11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8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9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8" name="a--sw3tSuYwFh9d4syvsTVb" hidden="1"/>
          <p:cNvSpPr>
            <a:spLocks noChangeArrowheads="1"/>
          </p:cNvSpPr>
          <p:nvPr/>
        </p:nvSpPr>
        <p:spPr bwMode="auto">
          <a:xfrm>
            <a:off x="63500" y="6731000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1749" name="Rectangle 2"/>
          <p:cNvSpPr txBox="1">
            <a:spLocks noChangeArrowheads="1"/>
          </p:cNvSpPr>
          <p:nvPr/>
        </p:nvSpPr>
        <p:spPr bwMode="auto">
          <a:xfrm>
            <a:off x="589787" y="2276872"/>
            <a:ext cx="8358187" cy="23659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lnSpc>
                <a:spcPct val="110000"/>
              </a:lnSpc>
            </a:pPr>
            <a:r>
              <a:rPr lang="ru-RU" sz="2400" b="1" dirty="0" smtClean="0">
                <a:solidFill>
                  <a:schemeClr val="folHlink"/>
                </a:solidFill>
              </a:rPr>
              <a:t>Тестовая</a:t>
            </a:r>
            <a:endParaRPr lang="ru-RU" sz="2000" b="1" dirty="0" smtClean="0">
              <a:solidFill>
                <a:schemeClr val="folHlink"/>
              </a:solidFill>
            </a:endParaRPr>
          </a:p>
          <a:p>
            <a:pPr eaLnBrk="0" hangingPunct="0">
              <a:lnSpc>
                <a:spcPct val="110000"/>
              </a:lnSpc>
            </a:pPr>
            <a:endParaRPr lang="ru-RU" sz="2400" b="1" dirty="0">
              <a:solidFill>
                <a:schemeClr val="folHlink"/>
              </a:solidFill>
            </a:endParaRPr>
          </a:p>
          <a:p>
            <a:pPr eaLnBrk="0" hangingPunct="0">
              <a:lnSpc>
                <a:spcPct val="110000"/>
              </a:lnSpc>
            </a:pPr>
            <a:endParaRPr lang="ru-RU" sz="2400" b="1" dirty="0">
              <a:solidFill>
                <a:schemeClr val="folHlink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ru-RU" dirty="0" smtClean="0"/>
              <a:t>Содержание</a:t>
            </a:r>
            <a:endParaRPr lang="en-GB" dirty="0" smtClean="0"/>
          </a:p>
        </p:txBody>
      </p:sp>
      <p:sp>
        <p:nvSpPr>
          <p:cNvPr id="27650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C1A3C6-D7A1-43D8-B91D-F8C2D7F54152}" type="slidenum">
              <a:rPr lang="ru-RU" smtClean="0"/>
              <a:pPr>
                <a:defRPr/>
              </a:pPr>
              <a:t>2</a:t>
            </a:fld>
            <a:endParaRPr lang="ru-RU" smtClean="0"/>
          </a:p>
        </p:txBody>
      </p:sp>
      <p:pic>
        <p:nvPicPr>
          <p:cNvPr id="3073" name="Picture 1" descr="logo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6475679"/>
            <a:ext cx="1152128" cy="382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ru-RU" sz="2800" dirty="0" smtClean="0"/>
              <a:t>1</a:t>
            </a:r>
            <a:r>
              <a:rPr lang="ru-RU" sz="2800" dirty="0" smtClean="0"/>
              <a:t>.</a:t>
            </a:r>
            <a:endParaRPr lang="ru-RU" sz="2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4F1E877-FF4E-46C1-8282-C9528624DB3C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pic>
        <p:nvPicPr>
          <p:cNvPr id="6" name="Picture 1" descr="logo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475679"/>
            <a:ext cx="1152128" cy="382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  <p:transition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r>
              <a:rPr lang="ru-RU" sz="1200">
                <a:sym typeface="Arial"/>
              </a:rPr>
              <a:t>2</a:t>
            </a:r>
            <a:endParaRPr lang="en-US" sz="1200">
              <a:sym typeface="Arial"/>
            </a:endParaRP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357188" y="142875"/>
            <a:ext cx="8786812" cy="903288"/>
          </a:xfrm>
        </p:spPr>
        <p:txBody>
          <a:bodyPr/>
          <a:lstStyle/>
          <a:p>
            <a:pPr>
              <a:defRPr/>
            </a:pPr>
            <a:r>
              <a:rPr lang="ru-RU" sz="2800" dirty="0" smtClean="0"/>
              <a:t>2.</a:t>
            </a:r>
            <a:endParaRPr lang="ru-RU" sz="2800" dirty="0" smtClean="0"/>
          </a:p>
        </p:txBody>
      </p:sp>
      <p:sp>
        <p:nvSpPr>
          <p:cNvPr id="1029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r"/>
            <a:fld id="{98576A94-A903-4547-A061-86189A356BEB}" type="slidenum">
              <a:rPr lang="ru-RU" sz="2200" b="1">
                <a:solidFill>
                  <a:schemeClr val="hlink"/>
                </a:solidFill>
              </a:rPr>
              <a:pPr algn="r"/>
              <a:t>4</a:t>
            </a:fld>
            <a:endParaRPr lang="ru-RU" sz="2200" b="1">
              <a:solidFill>
                <a:schemeClr val="hlin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9D8860A-5770-4C22-8450-920E9435B284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  <p:pic>
        <p:nvPicPr>
          <p:cNvPr id="11" name="Picture 1" descr="logo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1520" y="6475679"/>
            <a:ext cx="1152128" cy="382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6E221F-E9AD-42ED-B2AF-2B4F09B6A545}" type="slidenum">
              <a:rPr lang="ru-RU" smtClean="0"/>
              <a:pPr>
                <a:defRPr/>
              </a:pPr>
              <a:t>5</a:t>
            </a:fld>
            <a:endParaRPr lang="ru-RU" smtClean="0"/>
          </a:p>
        </p:txBody>
      </p:sp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357188" y="142875"/>
            <a:ext cx="8207375" cy="903288"/>
          </a:xfrm>
        </p:spPr>
        <p:txBody>
          <a:bodyPr/>
          <a:lstStyle/>
          <a:p>
            <a:pPr eaLnBrk="1" hangingPunct="1">
              <a:defRPr/>
            </a:pPr>
            <a:r>
              <a:rPr lang="ru-RU" sz="2800" dirty="0" smtClean="0"/>
              <a:t>3</a:t>
            </a:r>
            <a:r>
              <a:rPr lang="ru-RU" sz="2800" dirty="0" smtClean="0"/>
              <a:t>.</a:t>
            </a:r>
            <a:endParaRPr lang="en-GB" sz="2800" dirty="0" smtClean="0"/>
          </a:p>
        </p:txBody>
      </p:sp>
      <p:pic>
        <p:nvPicPr>
          <p:cNvPr id="7" name="Picture 1" descr="logo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475679"/>
            <a:ext cx="1152128" cy="382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332788" y="6480175"/>
            <a:ext cx="811212" cy="377825"/>
          </a:xfrm>
        </p:spPr>
        <p:txBody>
          <a:bodyPr/>
          <a:lstStyle/>
          <a:p>
            <a:pPr>
              <a:defRPr/>
            </a:pPr>
            <a:fld id="{1FC437B4-A612-479D-89B4-6536A84AF92B}" type="slidenum">
              <a:rPr lang="ru-RU" smtClean="0"/>
              <a:pPr>
                <a:defRPr/>
              </a:pPr>
              <a:t>6</a:t>
            </a:fld>
            <a:endParaRPr lang="ru-RU" smtClean="0"/>
          </a:p>
        </p:txBody>
      </p:sp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128588"/>
            <a:ext cx="8207375" cy="903287"/>
          </a:xfrm>
        </p:spPr>
        <p:txBody>
          <a:bodyPr/>
          <a:lstStyle/>
          <a:p>
            <a:pPr eaLnBrk="1" hangingPunct="1">
              <a:defRPr/>
            </a:pPr>
            <a:r>
              <a:rPr lang="ru-RU" sz="2800" dirty="0" smtClean="0"/>
              <a:t>4</a:t>
            </a:r>
            <a:r>
              <a:rPr lang="ru-RU" sz="2800" dirty="0" smtClean="0"/>
              <a:t>.</a:t>
            </a:r>
            <a:endParaRPr lang="en-GB" dirty="0" smtClean="0"/>
          </a:p>
        </p:txBody>
      </p:sp>
      <p:pic>
        <p:nvPicPr>
          <p:cNvPr id="6" name="Picture 1" descr="logo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475679"/>
            <a:ext cx="1152128" cy="382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Rectangle 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r>
              <a:rPr lang="ru-RU" sz="1200">
                <a:sym typeface="Arial"/>
              </a:rPr>
              <a:t>2</a:t>
            </a:r>
            <a:endParaRPr lang="en-US" sz="1200">
              <a:sym typeface="Arial"/>
            </a:endParaRP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357188" y="142875"/>
            <a:ext cx="8497887" cy="903288"/>
          </a:xfrm>
        </p:spPr>
        <p:txBody>
          <a:bodyPr/>
          <a:lstStyle/>
          <a:p>
            <a:pPr>
              <a:defRPr/>
            </a:pPr>
            <a:r>
              <a:rPr lang="ru-RU" sz="2800" dirty="0" smtClean="0"/>
              <a:t>5</a:t>
            </a:r>
            <a:r>
              <a:rPr lang="ru-RU" sz="2800" dirty="0" smtClean="0"/>
              <a:t>.</a:t>
            </a:r>
            <a:endParaRPr lang="ru-RU" sz="2800" dirty="0" smtClean="0"/>
          </a:p>
        </p:txBody>
      </p:sp>
      <p:sp>
        <p:nvSpPr>
          <p:cNvPr id="11269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 anchorCtr="1"/>
          <a:lstStyle/>
          <a:p>
            <a:pPr algn="r"/>
            <a:fld id="{C9CB55B2-CB91-4297-888D-2875F988E6A4}" type="slidenum">
              <a:rPr lang="ru-RU" sz="2200" b="1">
                <a:solidFill>
                  <a:schemeClr val="hlink"/>
                </a:solidFill>
              </a:rPr>
              <a:pPr algn="r"/>
              <a:t>7</a:t>
            </a:fld>
            <a:endParaRPr lang="ru-RU" sz="2200" b="1">
              <a:solidFill>
                <a:schemeClr val="hlin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9C94D49-03DC-4D02-8250-6C637DD955EA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  <p:pic>
        <p:nvPicPr>
          <p:cNvPr id="11" name="Picture 1" descr="logo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1520" y="6475679"/>
            <a:ext cx="1152128" cy="382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6D9E930-E27E-46A9-8DD0-FD61B401B274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ru-RU" sz="2800" dirty="0" smtClean="0"/>
              <a:t>6</a:t>
            </a:r>
            <a:r>
              <a:rPr lang="ru-RU" sz="2800" dirty="0" smtClean="0"/>
              <a:t>.</a:t>
            </a:r>
            <a:endParaRPr lang="ru-RU" sz="2800" dirty="0"/>
          </a:p>
        </p:txBody>
      </p:sp>
      <p:pic>
        <p:nvPicPr>
          <p:cNvPr id="6" name="Picture 1" descr="logo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475679"/>
            <a:ext cx="1152128" cy="3823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i8V6SwkyfKo9ukZlZ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FCKkDQxEusLhvXprN3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Xi8V6SwkyfKo9ukZlZ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3YlLEgN0adl0wYygOP.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FCKkDQxEusLhvXprN3uQ"/>
</p:tagLst>
</file>

<file path=ppt/theme/theme1.xml><?xml version="1.0" encoding="utf-8"?>
<a:theme xmlns:a="http://schemas.openxmlformats.org/drawingml/2006/main" name="ФинансИтоги_2011_ЗАЭС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a-section64">
  <a:themeElements>
    <a:clrScheme name="a-section64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6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6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4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4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4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4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4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a-section65">
  <a:themeElements>
    <a:clrScheme name="a-section65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6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6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5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5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5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5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5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a-content">
  <a:themeElements>
    <a:clrScheme name="a-conten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a-section66">
  <a:themeElements>
    <a:clrScheme name="a-section66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6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66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6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6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6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6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6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a-section61">
  <a:themeElements>
    <a:clrScheme name="a-section61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6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6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1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a-section62">
  <a:themeElements>
    <a:clrScheme name="a-section62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6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6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2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a-section63">
  <a:themeElements>
    <a:clrScheme name="a-section63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6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6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63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a-default 6">
    <a:dk1>
      <a:srgbClr val="414142"/>
    </a:dk1>
    <a:lt1>
      <a:srgbClr val="FFFFFF"/>
    </a:lt1>
    <a:dk2>
      <a:srgbClr val="FFFFFF"/>
    </a:dk2>
    <a:lt2>
      <a:srgbClr val="808080"/>
    </a:lt2>
    <a:accent1>
      <a:srgbClr val="F37D07"/>
    </a:accent1>
    <a:accent2>
      <a:srgbClr val="4596D1"/>
    </a:accent2>
    <a:accent3>
      <a:srgbClr val="FFFFFF"/>
    </a:accent3>
    <a:accent4>
      <a:srgbClr val="363637"/>
    </a:accent4>
    <a:accent5>
      <a:srgbClr val="F8BFAA"/>
    </a:accent5>
    <a:accent6>
      <a:srgbClr val="3E87BD"/>
    </a:accent6>
    <a:hlink>
      <a:srgbClr val="003274"/>
    </a:hlink>
    <a:folHlink>
      <a:srgbClr val="025EA1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ФинансИтоги_2011_ЗАЭС</Template>
  <TotalTime>4</TotalTime>
  <Words>28</Words>
  <Application>Microsoft Office PowerPoint</Application>
  <PresentationFormat>Экран (4:3)</PresentationFormat>
  <Paragraphs>22</Paragraphs>
  <Slides>8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20" baseType="lpstr">
      <vt:lpstr>ФинансИтоги_2011_ЗАЭС</vt:lpstr>
      <vt:lpstr>2_Специальное оформление</vt:lpstr>
      <vt:lpstr>Специальное оформление</vt:lpstr>
      <vt:lpstr>1_Специальное оформление</vt:lpstr>
      <vt:lpstr>a-content</vt:lpstr>
      <vt:lpstr>a-section66</vt:lpstr>
      <vt:lpstr>a-section61</vt:lpstr>
      <vt:lpstr>a-section62</vt:lpstr>
      <vt:lpstr>a-section63</vt:lpstr>
      <vt:lpstr>a-section64</vt:lpstr>
      <vt:lpstr>a-section65</vt:lpstr>
      <vt:lpstr>think-cell Slide</vt:lpstr>
      <vt:lpstr>Презентация PowerPoint</vt:lpstr>
      <vt:lpstr>Содержание</vt:lpstr>
      <vt:lpstr>1.</vt:lpstr>
      <vt:lpstr>2.</vt:lpstr>
      <vt:lpstr>3.</vt:lpstr>
      <vt:lpstr>4.</vt:lpstr>
      <vt:lpstr>5.</vt:lpstr>
      <vt:lpstr>6.</vt:lpstr>
    </vt:vector>
  </TitlesOfParts>
  <Company>ОАО"ВПО"ЗАЭС"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Yuritsyna</dc:creator>
  <cp:lastModifiedBy>Сергей Бондарев</cp:lastModifiedBy>
  <cp:revision>2</cp:revision>
  <dcterms:created xsi:type="dcterms:W3CDTF">2012-02-29T11:27:54Z</dcterms:created>
  <dcterms:modified xsi:type="dcterms:W3CDTF">2012-10-02T05:32:11Z</dcterms:modified>
</cp:coreProperties>
</file>